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9" r:id="rId4"/>
    <p:sldId id="277" r:id="rId5"/>
    <p:sldId id="280" r:id="rId6"/>
    <p:sldId id="281" r:id="rId7"/>
    <p:sldId id="283" r:id="rId8"/>
    <p:sldId id="287" r:id="rId9"/>
    <p:sldId id="284" r:id="rId10"/>
    <p:sldId id="288" r:id="rId11"/>
    <p:sldId id="285" r:id="rId12"/>
    <p:sldId id="286" r:id="rId13"/>
  </p:sldIdLst>
  <p:sldSz cx="9144000" cy="6858000" type="screen4x3"/>
  <p:notesSz cx="6797675" cy="9926638"/>
  <p:embeddedFontLst>
    <p:embeddedFont>
      <p:font typeface="Technika-Bold" panose="00000600000000000000" charset="-18"/>
      <p:regular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Technika" panose="020B0604020202020204" charset="-18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714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5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5.xml"/><Relationship Id="rId7" Type="http://schemas.openxmlformats.org/officeDocument/2006/relationships/image" Target="../media/image8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7.xml"/><Relationship Id="rId7" Type="http://schemas.openxmlformats.org/officeDocument/2006/relationships/image" Target="../media/image8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9.xml"/><Relationship Id="rId7" Type="http://schemas.openxmlformats.org/officeDocument/2006/relationships/image" Target="../media/image8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16" Type="http://schemas.openxmlformats.org/officeDocument/2006/relationships/tags" Target="../tags/tag26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oleObject" Target="../embeddings/oleObject7.bin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image" Target="../media/image1.emf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3.xml"/><Relationship Id="rId7" Type="http://schemas.openxmlformats.org/officeDocument/2006/relationships/image" Target="../media/image8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</a:t>
            </a:r>
            <a:r>
              <a:rPr lang="cs-CZ" dirty="0" smtClean="0"/>
              <a:t>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April 27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</a:t>
            </a:r>
            <a:r>
              <a:rPr lang="en-US" dirty="0" smtClean="0"/>
              <a:t>View</a:t>
            </a:r>
            <a:r>
              <a:rPr lang="cs-CZ" dirty="0" smtClean="0"/>
              <a:t> </a:t>
            </a:r>
            <a:r>
              <a:rPr lang="cs-CZ" dirty="0" err="1" smtClean="0"/>
              <a:t>ideal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1864225" y="2365813"/>
            <a:ext cx="878975" cy="99627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413224" y="2675241"/>
            <a:ext cx="880782" cy="12738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338768" y="5693470"/>
            <a:ext cx="2117126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910228" y="4552760"/>
            <a:ext cx="2239995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994998" y="3597274"/>
            <a:ext cx="822369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Rectangle 33"/>
          <p:cNvSpPr/>
          <p:nvPr/>
        </p:nvSpPr>
        <p:spPr>
          <a:xfrm>
            <a:off x="1379730" y="4878880"/>
            <a:ext cx="822369" cy="71783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85966" y="2420378"/>
            <a:ext cx="642872" cy="6361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248458"/>
            <a:ext cx="710901" cy="442913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7329" y="3427364"/>
            <a:ext cx="980951" cy="10573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77294"/>
            <a:ext cx="710901" cy="71944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420379"/>
            <a:ext cx="1117548" cy="95691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6763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964742" y="3427364"/>
            <a:ext cx="1025770" cy="99627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84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map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2261068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935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map</a:t>
            </a:r>
            <a:endParaRPr lang="cs-CZ" dirty="0"/>
          </a:p>
        </p:txBody>
      </p:sp>
      <p:grpSp>
        <p:nvGrpSpPr>
          <p:cNvPr id="25" name="Group 24"/>
          <p:cNvGrpSpPr/>
          <p:nvPr/>
        </p:nvGrpSpPr>
        <p:grpSpPr>
          <a:xfrm>
            <a:off x="1080000" y="2261068"/>
            <a:ext cx="5292369" cy="4505022"/>
            <a:chOff x="2067308" y="2261068"/>
            <a:chExt cx="5292369" cy="450502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4946" y="2339430"/>
              <a:ext cx="5063229" cy="4426660"/>
            </a:xfrm>
            <a:prstGeom prst="rect">
              <a:avLst/>
            </a:prstGeom>
          </p:spPr>
        </p:pic>
        <p:sp>
          <p:nvSpPr>
            <p:cNvPr id="44" name="NumberBall"/>
            <p:cNvSpPr>
              <a:spLocks noChangeArrowheads="1"/>
            </p:cNvSpPr>
            <p:nvPr/>
          </p:nvSpPr>
          <p:spPr bwMode="gray">
            <a:xfrm>
              <a:off x="2067308" y="226106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45" name="NumberBall"/>
            <p:cNvSpPr>
              <a:spLocks noChangeArrowheads="1"/>
            </p:cNvSpPr>
            <p:nvPr/>
          </p:nvSpPr>
          <p:spPr bwMode="gray">
            <a:xfrm>
              <a:off x="7064402" y="226106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6" name="NumberBall"/>
            <p:cNvSpPr>
              <a:spLocks noChangeArrowheads="1"/>
            </p:cNvSpPr>
            <p:nvPr/>
          </p:nvSpPr>
          <p:spPr bwMode="gray">
            <a:xfrm>
              <a:off x="2343083" y="577471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7" name="NumberBall"/>
            <p:cNvSpPr>
              <a:spLocks noChangeArrowheads="1"/>
            </p:cNvSpPr>
            <p:nvPr/>
          </p:nvSpPr>
          <p:spPr bwMode="gray">
            <a:xfrm>
              <a:off x="2476931" y="2556344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8" name="NumberBall"/>
            <p:cNvSpPr>
              <a:spLocks noChangeArrowheads="1"/>
            </p:cNvSpPr>
            <p:nvPr/>
          </p:nvSpPr>
          <p:spPr bwMode="gray">
            <a:xfrm>
              <a:off x="6528327" y="235969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49" name="NumberBall"/>
            <p:cNvSpPr>
              <a:spLocks noChangeArrowheads="1"/>
            </p:cNvSpPr>
            <p:nvPr/>
          </p:nvSpPr>
          <p:spPr bwMode="gray">
            <a:xfrm>
              <a:off x="2766495" y="601420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0" name="NumberBall"/>
            <p:cNvSpPr>
              <a:spLocks noChangeArrowheads="1"/>
            </p:cNvSpPr>
            <p:nvPr/>
          </p:nvSpPr>
          <p:spPr bwMode="gray">
            <a:xfrm>
              <a:off x="3127206" y="2740296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1" name="NumberBall"/>
            <p:cNvSpPr>
              <a:spLocks noChangeArrowheads="1"/>
            </p:cNvSpPr>
            <p:nvPr/>
          </p:nvSpPr>
          <p:spPr bwMode="gray">
            <a:xfrm>
              <a:off x="6687625" y="30668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2" name="NumberBall"/>
            <p:cNvSpPr>
              <a:spLocks noChangeArrowheads="1"/>
            </p:cNvSpPr>
            <p:nvPr/>
          </p:nvSpPr>
          <p:spPr bwMode="gray">
            <a:xfrm>
              <a:off x="3613319" y="616183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3" name="NumberBall"/>
            <p:cNvSpPr>
              <a:spLocks noChangeArrowheads="1"/>
            </p:cNvSpPr>
            <p:nvPr/>
          </p:nvSpPr>
          <p:spPr bwMode="gray">
            <a:xfrm>
              <a:off x="4770042" y="330199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4" name="NumberBall"/>
            <p:cNvSpPr>
              <a:spLocks noChangeArrowheads="1"/>
            </p:cNvSpPr>
            <p:nvPr/>
          </p:nvSpPr>
          <p:spPr bwMode="gray">
            <a:xfrm>
              <a:off x="2362583" y="400084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5" name="NumberBall"/>
            <p:cNvSpPr>
              <a:spLocks noChangeArrowheads="1"/>
            </p:cNvSpPr>
            <p:nvPr/>
          </p:nvSpPr>
          <p:spPr bwMode="gray">
            <a:xfrm>
              <a:off x="3028519" y="362726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6" name="NumberBall"/>
            <p:cNvSpPr>
              <a:spLocks noChangeArrowheads="1"/>
            </p:cNvSpPr>
            <p:nvPr/>
          </p:nvSpPr>
          <p:spPr bwMode="gray">
            <a:xfrm>
              <a:off x="2618857" y="5142673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57" name="NumberBall"/>
            <p:cNvSpPr>
              <a:spLocks noChangeArrowheads="1"/>
            </p:cNvSpPr>
            <p:nvPr/>
          </p:nvSpPr>
          <p:spPr bwMode="gray">
            <a:xfrm>
              <a:off x="4829362" y="4912771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867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liminary schedule for project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Agree on preferred testing strategy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Define project priorities </a:t>
            </a:r>
            <a:r>
              <a:rPr lang="en-US" sz="2000" b="1" dirty="0" smtClean="0"/>
              <a:t>and use case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eam Roles are to be shuffled every two weeks.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056309"/>
              </p:ext>
            </p:extLst>
          </p:nvPr>
        </p:nvGraphicFramePr>
        <p:xfrm>
          <a:off x="455613" y="2543019"/>
          <a:ext cx="8063055" cy="3465672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 Sýkora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 Chek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7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50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6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 assignment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4764835" y="2640581"/>
            <a:ext cx="3893391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analysis thus far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545762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task is to Rewrite the Open Source "CASA" </a:t>
            </a:r>
            <a:r>
              <a: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binational testing tool to Java. 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objectives: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Analyze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pen source CASA application in C++  </a:t>
            </a:r>
            <a:endParaRPr lang="en-US" sz="1600" dirty="0" smtClean="0">
              <a:solidFill>
                <a:srgbClr val="000000"/>
              </a:solidFill>
              <a:effectLst>
                <a:glow>
                  <a:srgbClr val="000000"/>
                </a:glow>
              </a:effectLst>
              <a:latin typeface="Arial" panose="020B0604020202020204" pitchFamily="34" charset="0"/>
              <a:cs typeface="Arial" pitchFamily="34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Rewrite it to Java</a:t>
            </a: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Final </a:t>
            </a:r>
            <a:r>
              <a:rPr lang="en-US" sz="1600" dirty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program should run as fast as </a:t>
            </a: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original</a:t>
            </a:r>
          </a:p>
          <a:p>
            <a:pPr marL="569913" lvl="2" indent="-166688" fontAlgn="base">
              <a:spcBef>
                <a:spcPct val="0"/>
              </a:spcBef>
              <a:spcAft>
                <a:spcPct val="0"/>
              </a:spcAft>
              <a:buClr>
                <a:srgbClr val="808080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effectLst>
                  <a:glow>
                    <a:srgbClr val="000000"/>
                  </a:glow>
                </a:effectLst>
                <a:latin typeface="Arial" panose="020B0604020202020204" pitchFamily="34" charset="0"/>
                <a:cs typeface="Arial" pitchFamily="34" charset="0"/>
              </a:rPr>
              <a:t>Development should be prioritized (not all parts are vital)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4790531" y="3102246"/>
            <a:ext cx="386769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r initial analysis shows, that the CASA source code consists not only of C++ code, but also of parts in C and </a:t>
            </a:r>
            <a:r>
              <a:rPr lang="en-US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kefile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s is an added layer of complexity to the project, but should not affect comple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74" y="4275497"/>
            <a:ext cx="3989808" cy="125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795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SA Project Analysi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emes and documents describing the structure and functions of the original CASA tool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ment Documentation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ies of documents covering the development and code of the created Java CASA derivativ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891108"/>
            <a:ext cx="2460767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ample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king snippets/ whole project based on the CASA source code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18"/>
          <p:cNvGrpSpPr>
            <a:grpSpLocks noChangeAspect="1"/>
          </p:cNvGrpSpPr>
          <p:nvPr/>
        </p:nvGrpSpPr>
        <p:grpSpPr bwMode="auto">
          <a:xfrm>
            <a:off x="1239395" y="2760378"/>
            <a:ext cx="893203" cy="760413"/>
            <a:chOff x="799" y="1854"/>
            <a:chExt cx="713" cy="607"/>
          </a:xfrm>
          <a:solidFill>
            <a:srgbClr val="4472C4"/>
          </a:solidFill>
        </p:grpSpPr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1109" y="1854"/>
              <a:ext cx="110" cy="109"/>
            </a:xfrm>
            <a:custGeom>
              <a:avLst/>
              <a:gdLst>
                <a:gd name="T0" fmla="*/ 274 w 548"/>
                <a:gd name="T1" fmla="*/ 0 h 548"/>
                <a:gd name="T2" fmla="*/ 314 w 548"/>
                <a:gd name="T3" fmla="*/ 3 h 548"/>
                <a:gd name="T4" fmla="*/ 353 w 548"/>
                <a:gd name="T5" fmla="*/ 12 h 548"/>
                <a:gd name="T6" fmla="*/ 389 w 548"/>
                <a:gd name="T7" fmla="*/ 25 h 548"/>
                <a:gd name="T8" fmla="*/ 422 w 548"/>
                <a:gd name="T9" fmla="*/ 44 h 548"/>
                <a:gd name="T10" fmla="*/ 454 w 548"/>
                <a:gd name="T11" fmla="*/ 67 h 548"/>
                <a:gd name="T12" fmla="*/ 481 w 548"/>
                <a:gd name="T13" fmla="*/ 94 h 548"/>
                <a:gd name="T14" fmla="*/ 503 w 548"/>
                <a:gd name="T15" fmla="*/ 125 h 548"/>
                <a:gd name="T16" fmla="*/ 522 w 548"/>
                <a:gd name="T17" fmla="*/ 158 h 548"/>
                <a:gd name="T18" fmla="*/ 536 w 548"/>
                <a:gd name="T19" fmla="*/ 195 h 548"/>
                <a:gd name="T20" fmla="*/ 545 w 548"/>
                <a:gd name="T21" fmla="*/ 233 h 548"/>
                <a:gd name="T22" fmla="*/ 548 w 548"/>
                <a:gd name="T23" fmla="*/ 274 h 548"/>
                <a:gd name="T24" fmla="*/ 545 w 548"/>
                <a:gd name="T25" fmla="*/ 314 h 548"/>
                <a:gd name="T26" fmla="*/ 536 w 548"/>
                <a:gd name="T27" fmla="*/ 353 h 548"/>
                <a:gd name="T28" fmla="*/ 522 w 548"/>
                <a:gd name="T29" fmla="*/ 389 h 548"/>
                <a:gd name="T30" fmla="*/ 503 w 548"/>
                <a:gd name="T31" fmla="*/ 422 h 548"/>
                <a:gd name="T32" fmla="*/ 481 w 548"/>
                <a:gd name="T33" fmla="*/ 454 h 548"/>
                <a:gd name="T34" fmla="*/ 454 w 548"/>
                <a:gd name="T35" fmla="*/ 481 h 548"/>
                <a:gd name="T36" fmla="*/ 422 w 548"/>
                <a:gd name="T37" fmla="*/ 503 h 548"/>
                <a:gd name="T38" fmla="*/ 389 w 548"/>
                <a:gd name="T39" fmla="*/ 522 h 548"/>
                <a:gd name="T40" fmla="*/ 353 w 548"/>
                <a:gd name="T41" fmla="*/ 536 h 548"/>
                <a:gd name="T42" fmla="*/ 314 w 548"/>
                <a:gd name="T43" fmla="*/ 544 h 548"/>
                <a:gd name="T44" fmla="*/ 274 w 548"/>
                <a:gd name="T45" fmla="*/ 548 h 548"/>
                <a:gd name="T46" fmla="*/ 233 w 548"/>
                <a:gd name="T47" fmla="*/ 544 h 548"/>
                <a:gd name="T48" fmla="*/ 195 w 548"/>
                <a:gd name="T49" fmla="*/ 536 h 548"/>
                <a:gd name="T50" fmla="*/ 158 w 548"/>
                <a:gd name="T51" fmla="*/ 522 h 548"/>
                <a:gd name="T52" fmla="*/ 125 w 548"/>
                <a:gd name="T53" fmla="*/ 503 h 548"/>
                <a:gd name="T54" fmla="*/ 95 w 548"/>
                <a:gd name="T55" fmla="*/ 481 h 548"/>
                <a:gd name="T56" fmla="*/ 67 w 548"/>
                <a:gd name="T57" fmla="*/ 454 h 548"/>
                <a:gd name="T58" fmla="*/ 45 w 548"/>
                <a:gd name="T59" fmla="*/ 422 h 548"/>
                <a:gd name="T60" fmla="*/ 25 w 548"/>
                <a:gd name="T61" fmla="*/ 389 h 548"/>
                <a:gd name="T62" fmla="*/ 12 w 548"/>
                <a:gd name="T63" fmla="*/ 353 h 548"/>
                <a:gd name="T64" fmla="*/ 4 w 548"/>
                <a:gd name="T65" fmla="*/ 314 h 548"/>
                <a:gd name="T66" fmla="*/ 0 w 548"/>
                <a:gd name="T67" fmla="*/ 274 h 548"/>
                <a:gd name="T68" fmla="*/ 4 w 548"/>
                <a:gd name="T69" fmla="*/ 233 h 548"/>
                <a:gd name="T70" fmla="*/ 12 w 548"/>
                <a:gd name="T71" fmla="*/ 195 h 548"/>
                <a:gd name="T72" fmla="*/ 25 w 548"/>
                <a:gd name="T73" fmla="*/ 158 h 548"/>
                <a:gd name="T74" fmla="*/ 45 w 548"/>
                <a:gd name="T75" fmla="*/ 125 h 548"/>
                <a:gd name="T76" fmla="*/ 67 w 548"/>
                <a:gd name="T77" fmla="*/ 94 h 548"/>
                <a:gd name="T78" fmla="*/ 95 w 548"/>
                <a:gd name="T79" fmla="*/ 67 h 548"/>
                <a:gd name="T80" fmla="*/ 125 w 548"/>
                <a:gd name="T81" fmla="*/ 44 h 548"/>
                <a:gd name="T82" fmla="*/ 158 w 548"/>
                <a:gd name="T83" fmla="*/ 25 h 548"/>
                <a:gd name="T84" fmla="*/ 195 w 548"/>
                <a:gd name="T85" fmla="*/ 12 h 548"/>
                <a:gd name="T86" fmla="*/ 233 w 548"/>
                <a:gd name="T87" fmla="*/ 3 h 548"/>
                <a:gd name="T88" fmla="*/ 274 w 548"/>
                <a:gd name="T8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8" h="548"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8" y="274"/>
                  </a:lnTo>
                  <a:lnTo>
                    <a:pt x="545" y="314"/>
                  </a:lnTo>
                  <a:lnTo>
                    <a:pt x="536" y="353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2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2"/>
                  </a:lnTo>
                  <a:lnTo>
                    <a:pt x="25" y="389"/>
                  </a:lnTo>
                  <a:lnTo>
                    <a:pt x="12" y="353"/>
                  </a:lnTo>
                  <a:lnTo>
                    <a:pt x="4" y="314"/>
                  </a:lnTo>
                  <a:lnTo>
                    <a:pt x="0" y="274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"/>
            <p:cNvSpPr>
              <a:spLocks noEditPoints="1"/>
            </p:cNvSpPr>
            <p:nvPr/>
          </p:nvSpPr>
          <p:spPr bwMode="auto">
            <a:xfrm>
              <a:off x="861" y="2096"/>
              <a:ext cx="110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0 w 547"/>
                <a:gd name="T7" fmla="*/ 206 h 548"/>
                <a:gd name="T8" fmla="*/ 79 w 547"/>
                <a:gd name="T9" fmla="*/ 274 h 548"/>
                <a:gd name="T10" fmla="*/ 90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3 w 547"/>
                <a:gd name="T37" fmla="*/ 0 h 548"/>
                <a:gd name="T38" fmla="*/ 352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2 w 547"/>
                <a:gd name="T57" fmla="*/ 536 h 548"/>
                <a:gd name="T58" fmla="*/ 273 w 547"/>
                <a:gd name="T59" fmla="*/ 548 h 548"/>
                <a:gd name="T60" fmla="*/ 194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4 w 547"/>
                <a:gd name="T79" fmla="*/ 12 h 548"/>
                <a:gd name="T80" fmla="*/ 273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3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0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0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3" y="469"/>
                  </a:lnTo>
                  <a:lnTo>
                    <a:pt x="308" y="465"/>
                  </a:lnTo>
                  <a:lnTo>
                    <a:pt x="341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1" y="91"/>
                  </a:lnTo>
                  <a:lnTo>
                    <a:pt x="308" y="82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3" y="3"/>
                  </a:lnTo>
                  <a:lnTo>
                    <a:pt x="352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2" y="536"/>
                  </a:lnTo>
                  <a:lnTo>
                    <a:pt x="313" y="544"/>
                  </a:lnTo>
                  <a:lnTo>
                    <a:pt x="273" y="548"/>
                  </a:lnTo>
                  <a:lnTo>
                    <a:pt x="233" y="544"/>
                  </a:lnTo>
                  <a:lnTo>
                    <a:pt x="194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1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1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4" y="12"/>
                  </a:lnTo>
                  <a:lnTo>
                    <a:pt x="233" y="3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2"/>
            <p:cNvSpPr>
              <a:spLocks noEditPoints="1"/>
            </p:cNvSpPr>
            <p:nvPr/>
          </p:nvSpPr>
          <p:spPr bwMode="auto">
            <a:xfrm>
              <a:off x="1109" y="2096"/>
              <a:ext cx="110" cy="109"/>
            </a:xfrm>
            <a:custGeom>
              <a:avLst/>
              <a:gdLst>
                <a:gd name="T0" fmla="*/ 239 w 548"/>
                <a:gd name="T1" fmla="*/ 82 h 548"/>
                <a:gd name="T2" fmla="*/ 176 w 548"/>
                <a:gd name="T3" fmla="*/ 106 h 548"/>
                <a:gd name="T4" fmla="*/ 125 w 548"/>
                <a:gd name="T5" fmla="*/ 148 h 548"/>
                <a:gd name="T6" fmla="*/ 91 w 548"/>
                <a:gd name="T7" fmla="*/ 206 h 548"/>
                <a:gd name="T8" fmla="*/ 79 w 548"/>
                <a:gd name="T9" fmla="*/ 274 h 548"/>
                <a:gd name="T10" fmla="*/ 91 w 548"/>
                <a:gd name="T11" fmla="*/ 342 h 548"/>
                <a:gd name="T12" fmla="*/ 125 w 548"/>
                <a:gd name="T13" fmla="*/ 399 h 548"/>
                <a:gd name="T14" fmla="*/ 176 w 548"/>
                <a:gd name="T15" fmla="*/ 442 h 548"/>
                <a:gd name="T16" fmla="*/ 238 w 548"/>
                <a:gd name="T17" fmla="*/ 465 h 548"/>
                <a:gd name="T18" fmla="*/ 309 w 548"/>
                <a:gd name="T19" fmla="*/ 465 h 548"/>
                <a:gd name="T20" fmla="*/ 373 w 548"/>
                <a:gd name="T21" fmla="*/ 442 h 548"/>
                <a:gd name="T22" fmla="*/ 422 w 548"/>
                <a:gd name="T23" fmla="*/ 399 h 548"/>
                <a:gd name="T24" fmla="*/ 456 w 548"/>
                <a:gd name="T25" fmla="*/ 342 h 548"/>
                <a:gd name="T26" fmla="*/ 469 w 548"/>
                <a:gd name="T27" fmla="*/ 274 h 548"/>
                <a:gd name="T28" fmla="*/ 456 w 548"/>
                <a:gd name="T29" fmla="*/ 206 h 548"/>
                <a:gd name="T30" fmla="*/ 422 w 548"/>
                <a:gd name="T31" fmla="*/ 148 h 548"/>
                <a:gd name="T32" fmla="*/ 373 w 548"/>
                <a:gd name="T33" fmla="*/ 106 h 548"/>
                <a:gd name="T34" fmla="*/ 309 w 548"/>
                <a:gd name="T35" fmla="*/ 82 h 548"/>
                <a:gd name="T36" fmla="*/ 274 w 548"/>
                <a:gd name="T37" fmla="*/ 0 h 548"/>
                <a:gd name="T38" fmla="*/ 353 w 548"/>
                <a:gd name="T39" fmla="*/ 12 h 548"/>
                <a:gd name="T40" fmla="*/ 422 w 548"/>
                <a:gd name="T41" fmla="*/ 44 h 548"/>
                <a:gd name="T42" fmla="*/ 481 w 548"/>
                <a:gd name="T43" fmla="*/ 94 h 548"/>
                <a:gd name="T44" fmla="*/ 522 w 548"/>
                <a:gd name="T45" fmla="*/ 159 h 548"/>
                <a:gd name="T46" fmla="*/ 545 w 548"/>
                <a:gd name="T47" fmla="*/ 234 h 548"/>
                <a:gd name="T48" fmla="*/ 545 w 548"/>
                <a:gd name="T49" fmla="*/ 315 h 548"/>
                <a:gd name="T50" fmla="*/ 522 w 548"/>
                <a:gd name="T51" fmla="*/ 390 h 548"/>
                <a:gd name="T52" fmla="*/ 481 w 548"/>
                <a:gd name="T53" fmla="*/ 454 h 548"/>
                <a:gd name="T54" fmla="*/ 422 w 548"/>
                <a:gd name="T55" fmla="*/ 503 h 548"/>
                <a:gd name="T56" fmla="*/ 353 w 548"/>
                <a:gd name="T57" fmla="*/ 536 h 548"/>
                <a:gd name="T58" fmla="*/ 274 w 548"/>
                <a:gd name="T59" fmla="*/ 548 h 548"/>
                <a:gd name="T60" fmla="*/ 195 w 548"/>
                <a:gd name="T61" fmla="*/ 536 h 548"/>
                <a:gd name="T62" fmla="*/ 125 w 548"/>
                <a:gd name="T63" fmla="*/ 503 h 548"/>
                <a:gd name="T64" fmla="*/ 67 w 548"/>
                <a:gd name="T65" fmla="*/ 454 h 548"/>
                <a:gd name="T66" fmla="*/ 25 w 548"/>
                <a:gd name="T67" fmla="*/ 390 h 548"/>
                <a:gd name="T68" fmla="*/ 4 w 548"/>
                <a:gd name="T69" fmla="*/ 315 h 548"/>
                <a:gd name="T70" fmla="*/ 4 w 548"/>
                <a:gd name="T71" fmla="*/ 234 h 548"/>
                <a:gd name="T72" fmla="*/ 25 w 548"/>
                <a:gd name="T73" fmla="*/ 159 h 548"/>
                <a:gd name="T74" fmla="*/ 67 w 548"/>
                <a:gd name="T75" fmla="*/ 94 h 548"/>
                <a:gd name="T76" fmla="*/ 125 w 548"/>
                <a:gd name="T77" fmla="*/ 44 h 548"/>
                <a:gd name="T78" fmla="*/ 195 w 548"/>
                <a:gd name="T79" fmla="*/ 12 h 548"/>
                <a:gd name="T80" fmla="*/ 274 w 548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8">
                  <a:moveTo>
                    <a:pt x="274" y="79"/>
                  </a:moveTo>
                  <a:lnTo>
                    <a:pt x="239" y="82"/>
                  </a:lnTo>
                  <a:lnTo>
                    <a:pt x="206" y="91"/>
                  </a:lnTo>
                  <a:lnTo>
                    <a:pt x="176" y="106"/>
                  </a:lnTo>
                  <a:lnTo>
                    <a:pt x="149" y="126"/>
                  </a:lnTo>
                  <a:lnTo>
                    <a:pt x="125" y="148"/>
                  </a:lnTo>
                  <a:lnTo>
                    <a:pt x="105" y="175"/>
                  </a:lnTo>
                  <a:lnTo>
                    <a:pt x="91" y="206"/>
                  </a:lnTo>
                  <a:lnTo>
                    <a:pt x="83" y="239"/>
                  </a:lnTo>
                  <a:lnTo>
                    <a:pt x="79" y="274"/>
                  </a:lnTo>
                  <a:lnTo>
                    <a:pt x="83" y="310"/>
                  </a:lnTo>
                  <a:lnTo>
                    <a:pt x="91" y="342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9" y="423"/>
                  </a:lnTo>
                  <a:lnTo>
                    <a:pt x="176" y="442"/>
                  </a:lnTo>
                  <a:lnTo>
                    <a:pt x="206" y="457"/>
                  </a:lnTo>
                  <a:lnTo>
                    <a:pt x="238" y="465"/>
                  </a:lnTo>
                  <a:lnTo>
                    <a:pt x="274" y="469"/>
                  </a:lnTo>
                  <a:lnTo>
                    <a:pt x="309" y="465"/>
                  </a:lnTo>
                  <a:lnTo>
                    <a:pt x="342" y="457"/>
                  </a:lnTo>
                  <a:lnTo>
                    <a:pt x="373" y="442"/>
                  </a:lnTo>
                  <a:lnTo>
                    <a:pt x="400" y="423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2"/>
                  </a:lnTo>
                  <a:lnTo>
                    <a:pt x="466" y="310"/>
                  </a:lnTo>
                  <a:lnTo>
                    <a:pt x="469" y="274"/>
                  </a:lnTo>
                  <a:lnTo>
                    <a:pt x="466" y="239"/>
                  </a:lnTo>
                  <a:lnTo>
                    <a:pt x="456" y="206"/>
                  </a:lnTo>
                  <a:lnTo>
                    <a:pt x="442" y="175"/>
                  </a:lnTo>
                  <a:lnTo>
                    <a:pt x="422" y="148"/>
                  </a:lnTo>
                  <a:lnTo>
                    <a:pt x="400" y="126"/>
                  </a:lnTo>
                  <a:lnTo>
                    <a:pt x="373" y="106"/>
                  </a:lnTo>
                  <a:lnTo>
                    <a:pt x="342" y="91"/>
                  </a:lnTo>
                  <a:lnTo>
                    <a:pt x="309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2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6"/>
                  </a:lnTo>
                  <a:lnTo>
                    <a:pt x="522" y="159"/>
                  </a:lnTo>
                  <a:lnTo>
                    <a:pt x="536" y="195"/>
                  </a:lnTo>
                  <a:lnTo>
                    <a:pt x="545" y="234"/>
                  </a:lnTo>
                  <a:lnTo>
                    <a:pt x="548" y="274"/>
                  </a:lnTo>
                  <a:lnTo>
                    <a:pt x="545" y="315"/>
                  </a:lnTo>
                  <a:lnTo>
                    <a:pt x="536" y="353"/>
                  </a:lnTo>
                  <a:lnTo>
                    <a:pt x="522" y="390"/>
                  </a:lnTo>
                  <a:lnTo>
                    <a:pt x="503" y="423"/>
                  </a:lnTo>
                  <a:lnTo>
                    <a:pt x="481" y="454"/>
                  </a:lnTo>
                  <a:lnTo>
                    <a:pt x="454" y="481"/>
                  </a:lnTo>
                  <a:lnTo>
                    <a:pt x="422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3" y="544"/>
                  </a:lnTo>
                  <a:lnTo>
                    <a:pt x="195" y="536"/>
                  </a:lnTo>
                  <a:lnTo>
                    <a:pt x="158" y="523"/>
                  </a:lnTo>
                  <a:lnTo>
                    <a:pt x="125" y="503"/>
                  </a:lnTo>
                  <a:lnTo>
                    <a:pt x="95" y="481"/>
                  </a:lnTo>
                  <a:lnTo>
                    <a:pt x="67" y="454"/>
                  </a:lnTo>
                  <a:lnTo>
                    <a:pt x="45" y="423"/>
                  </a:lnTo>
                  <a:lnTo>
                    <a:pt x="25" y="390"/>
                  </a:lnTo>
                  <a:lnTo>
                    <a:pt x="12" y="353"/>
                  </a:lnTo>
                  <a:lnTo>
                    <a:pt x="4" y="315"/>
                  </a:lnTo>
                  <a:lnTo>
                    <a:pt x="0" y="274"/>
                  </a:lnTo>
                  <a:lnTo>
                    <a:pt x="4" y="234"/>
                  </a:lnTo>
                  <a:lnTo>
                    <a:pt x="12" y="195"/>
                  </a:lnTo>
                  <a:lnTo>
                    <a:pt x="25" y="159"/>
                  </a:lnTo>
                  <a:lnTo>
                    <a:pt x="45" y="126"/>
                  </a:lnTo>
                  <a:lnTo>
                    <a:pt x="67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8" y="26"/>
                  </a:lnTo>
                  <a:lnTo>
                    <a:pt x="195" y="12"/>
                  </a:lnTo>
                  <a:lnTo>
                    <a:pt x="233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"/>
            <p:cNvSpPr>
              <a:spLocks noEditPoints="1"/>
            </p:cNvSpPr>
            <p:nvPr/>
          </p:nvSpPr>
          <p:spPr bwMode="auto">
            <a:xfrm>
              <a:off x="1344" y="2096"/>
              <a:ext cx="109" cy="109"/>
            </a:xfrm>
            <a:custGeom>
              <a:avLst/>
              <a:gdLst>
                <a:gd name="T0" fmla="*/ 239 w 547"/>
                <a:gd name="T1" fmla="*/ 82 h 548"/>
                <a:gd name="T2" fmla="*/ 175 w 547"/>
                <a:gd name="T3" fmla="*/ 106 h 548"/>
                <a:gd name="T4" fmla="*/ 124 w 547"/>
                <a:gd name="T5" fmla="*/ 148 h 548"/>
                <a:gd name="T6" fmla="*/ 91 w 547"/>
                <a:gd name="T7" fmla="*/ 206 h 548"/>
                <a:gd name="T8" fmla="*/ 79 w 547"/>
                <a:gd name="T9" fmla="*/ 274 h 548"/>
                <a:gd name="T10" fmla="*/ 91 w 547"/>
                <a:gd name="T11" fmla="*/ 342 h 548"/>
                <a:gd name="T12" fmla="*/ 124 w 547"/>
                <a:gd name="T13" fmla="*/ 399 h 548"/>
                <a:gd name="T14" fmla="*/ 175 w 547"/>
                <a:gd name="T15" fmla="*/ 442 h 548"/>
                <a:gd name="T16" fmla="*/ 239 w 547"/>
                <a:gd name="T17" fmla="*/ 465 h 548"/>
                <a:gd name="T18" fmla="*/ 308 w 547"/>
                <a:gd name="T19" fmla="*/ 465 h 548"/>
                <a:gd name="T20" fmla="*/ 372 w 547"/>
                <a:gd name="T21" fmla="*/ 442 h 548"/>
                <a:gd name="T22" fmla="*/ 423 w 547"/>
                <a:gd name="T23" fmla="*/ 399 h 548"/>
                <a:gd name="T24" fmla="*/ 456 w 547"/>
                <a:gd name="T25" fmla="*/ 342 h 548"/>
                <a:gd name="T26" fmla="*/ 468 w 547"/>
                <a:gd name="T27" fmla="*/ 274 h 548"/>
                <a:gd name="T28" fmla="*/ 456 w 547"/>
                <a:gd name="T29" fmla="*/ 206 h 548"/>
                <a:gd name="T30" fmla="*/ 423 w 547"/>
                <a:gd name="T31" fmla="*/ 148 h 548"/>
                <a:gd name="T32" fmla="*/ 372 w 547"/>
                <a:gd name="T33" fmla="*/ 106 h 548"/>
                <a:gd name="T34" fmla="*/ 308 w 547"/>
                <a:gd name="T35" fmla="*/ 82 h 548"/>
                <a:gd name="T36" fmla="*/ 274 w 547"/>
                <a:gd name="T37" fmla="*/ 0 h 548"/>
                <a:gd name="T38" fmla="*/ 353 w 547"/>
                <a:gd name="T39" fmla="*/ 12 h 548"/>
                <a:gd name="T40" fmla="*/ 423 w 547"/>
                <a:gd name="T41" fmla="*/ 44 h 548"/>
                <a:gd name="T42" fmla="*/ 480 w 547"/>
                <a:gd name="T43" fmla="*/ 94 h 548"/>
                <a:gd name="T44" fmla="*/ 521 w 547"/>
                <a:gd name="T45" fmla="*/ 159 h 548"/>
                <a:gd name="T46" fmla="*/ 544 w 547"/>
                <a:gd name="T47" fmla="*/ 234 h 548"/>
                <a:gd name="T48" fmla="*/ 544 w 547"/>
                <a:gd name="T49" fmla="*/ 315 h 548"/>
                <a:gd name="T50" fmla="*/ 521 w 547"/>
                <a:gd name="T51" fmla="*/ 390 h 548"/>
                <a:gd name="T52" fmla="*/ 480 w 547"/>
                <a:gd name="T53" fmla="*/ 454 h 548"/>
                <a:gd name="T54" fmla="*/ 423 w 547"/>
                <a:gd name="T55" fmla="*/ 503 h 548"/>
                <a:gd name="T56" fmla="*/ 353 w 547"/>
                <a:gd name="T57" fmla="*/ 536 h 548"/>
                <a:gd name="T58" fmla="*/ 274 w 547"/>
                <a:gd name="T59" fmla="*/ 548 h 548"/>
                <a:gd name="T60" fmla="*/ 195 w 547"/>
                <a:gd name="T61" fmla="*/ 536 h 548"/>
                <a:gd name="T62" fmla="*/ 124 w 547"/>
                <a:gd name="T63" fmla="*/ 503 h 548"/>
                <a:gd name="T64" fmla="*/ 67 w 547"/>
                <a:gd name="T65" fmla="*/ 454 h 548"/>
                <a:gd name="T66" fmla="*/ 26 w 547"/>
                <a:gd name="T67" fmla="*/ 390 h 548"/>
                <a:gd name="T68" fmla="*/ 3 w 547"/>
                <a:gd name="T69" fmla="*/ 315 h 548"/>
                <a:gd name="T70" fmla="*/ 3 w 547"/>
                <a:gd name="T71" fmla="*/ 234 h 548"/>
                <a:gd name="T72" fmla="*/ 26 w 547"/>
                <a:gd name="T73" fmla="*/ 159 h 548"/>
                <a:gd name="T74" fmla="*/ 67 w 547"/>
                <a:gd name="T75" fmla="*/ 94 h 548"/>
                <a:gd name="T76" fmla="*/ 124 w 547"/>
                <a:gd name="T77" fmla="*/ 44 h 548"/>
                <a:gd name="T78" fmla="*/ 195 w 547"/>
                <a:gd name="T79" fmla="*/ 12 h 548"/>
                <a:gd name="T80" fmla="*/ 274 w 547"/>
                <a:gd name="T81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8">
                  <a:moveTo>
                    <a:pt x="274" y="79"/>
                  </a:moveTo>
                  <a:lnTo>
                    <a:pt x="239" y="82"/>
                  </a:lnTo>
                  <a:lnTo>
                    <a:pt x="205" y="91"/>
                  </a:lnTo>
                  <a:lnTo>
                    <a:pt x="175" y="106"/>
                  </a:lnTo>
                  <a:lnTo>
                    <a:pt x="148" y="126"/>
                  </a:lnTo>
                  <a:lnTo>
                    <a:pt x="124" y="148"/>
                  </a:lnTo>
                  <a:lnTo>
                    <a:pt x="106" y="175"/>
                  </a:lnTo>
                  <a:lnTo>
                    <a:pt x="91" y="206"/>
                  </a:lnTo>
                  <a:lnTo>
                    <a:pt x="82" y="239"/>
                  </a:lnTo>
                  <a:lnTo>
                    <a:pt x="79" y="274"/>
                  </a:lnTo>
                  <a:lnTo>
                    <a:pt x="82" y="310"/>
                  </a:lnTo>
                  <a:lnTo>
                    <a:pt x="91" y="342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3"/>
                  </a:lnTo>
                  <a:lnTo>
                    <a:pt x="175" y="442"/>
                  </a:lnTo>
                  <a:lnTo>
                    <a:pt x="205" y="457"/>
                  </a:lnTo>
                  <a:lnTo>
                    <a:pt x="239" y="465"/>
                  </a:lnTo>
                  <a:lnTo>
                    <a:pt x="274" y="469"/>
                  </a:lnTo>
                  <a:lnTo>
                    <a:pt x="308" y="465"/>
                  </a:lnTo>
                  <a:lnTo>
                    <a:pt x="342" y="457"/>
                  </a:lnTo>
                  <a:lnTo>
                    <a:pt x="372" y="442"/>
                  </a:lnTo>
                  <a:lnTo>
                    <a:pt x="399" y="423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6" y="342"/>
                  </a:lnTo>
                  <a:lnTo>
                    <a:pt x="465" y="310"/>
                  </a:lnTo>
                  <a:lnTo>
                    <a:pt x="468" y="274"/>
                  </a:lnTo>
                  <a:lnTo>
                    <a:pt x="465" y="239"/>
                  </a:lnTo>
                  <a:lnTo>
                    <a:pt x="456" y="206"/>
                  </a:lnTo>
                  <a:lnTo>
                    <a:pt x="441" y="175"/>
                  </a:lnTo>
                  <a:lnTo>
                    <a:pt x="423" y="148"/>
                  </a:lnTo>
                  <a:lnTo>
                    <a:pt x="399" y="126"/>
                  </a:lnTo>
                  <a:lnTo>
                    <a:pt x="372" y="106"/>
                  </a:lnTo>
                  <a:lnTo>
                    <a:pt x="342" y="91"/>
                  </a:lnTo>
                  <a:lnTo>
                    <a:pt x="308" y="82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3"/>
                  </a:lnTo>
                  <a:lnTo>
                    <a:pt x="353" y="12"/>
                  </a:lnTo>
                  <a:lnTo>
                    <a:pt x="389" y="26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6"/>
                  </a:lnTo>
                  <a:lnTo>
                    <a:pt x="521" y="159"/>
                  </a:lnTo>
                  <a:lnTo>
                    <a:pt x="535" y="195"/>
                  </a:lnTo>
                  <a:lnTo>
                    <a:pt x="544" y="234"/>
                  </a:lnTo>
                  <a:lnTo>
                    <a:pt x="547" y="274"/>
                  </a:lnTo>
                  <a:lnTo>
                    <a:pt x="544" y="315"/>
                  </a:lnTo>
                  <a:lnTo>
                    <a:pt x="535" y="353"/>
                  </a:lnTo>
                  <a:lnTo>
                    <a:pt x="521" y="390"/>
                  </a:lnTo>
                  <a:lnTo>
                    <a:pt x="503" y="423"/>
                  </a:lnTo>
                  <a:lnTo>
                    <a:pt x="480" y="454"/>
                  </a:lnTo>
                  <a:lnTo>
                    <a:pt x="453" y="481"/>
                  </a:lnTo>
                  <a:lnTo>
                    <a:pt x="423" y="503"/>
                  </a:lnTo>
                  <a:lnTo>
                    <a:pt x="389" y="523"/>
                  </a:lnTo>
                  <a:lnTo>
                    <a:pt x="353" y="536"/>
                  </a:lnTo>
                  <a:lnTo>
                    <a:pt x="314" y="544"/>
                  </a:lnTo>
                  <a:lnTo>
                    <a:pt x="274" y="548"/>
                  </a:lnTo>
                  <a:lnTo>
                    <a:pt x="234" y="544"/>
                  </a:lnTo>
                  <a:lnTo>
                    <a:pt x="195" y="536"/>
                  </a:lnTo>
                  <a:lnTo>
                    <a:pt x="159" y="523"/>
                  </a:lnTo>
                  <a:lnTo>
                    <a:pt x="124" y="503"/>
                  </a:lnTo>
                  <a:lnTo>
                    <a:pt x="94" y="481"/>
                  </a:lnTo>
                  <a:lnTo>
                    <a:pt x="67" y="454"/>
                  </a:lnTo>
                  <a:lnTo>
                    <a:pt x="44" y="423"/>
                  </a:lnTo>
                  <a:lnTo>
                    <a:pt x="26" y="390"/>
                  </a:lnTo>
                  <a:lnTo>
                    <a:pt x="12" y="353"/>
                  </a:lnTo>
                  <a:lnTo>
                    <a:pt x="3" y="315"/>
                  </a:lnTo>
                  <a:lnTo>
                    <a:pt x="0" y="274"/>
                  </a:lnTo>
                  <a:lnTo>
                    <a:pt x="3" y="234"/>
                  </a:lnTo>
                  <a:lnTo>
                    <a:pt x="12" y="195"/>
                  </a:lnTo>
                  <a:lnTo>
                    <a:pt x="26" y="159"/>
                  </a:lnTo>
                  <a:lnTo>
                    <a:pt x="44" y="126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9" y="26"/>
                  </a:lnTo>
                  <a:lnTo>
                    <a:pt x="195" y="12"/>
                  </a:lnTo>
                  <a:lnTo>
                    <a:pt x="234" y="3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4"/>
            <p:cNvSpPr>
              <a:spLocks noEditPoints="1"/>
            </p:cNvSpPr>
            <p:nvPr/>
          </p:nvSpPr>
          <p:spPr bwMode="auto">
            <a:xfrm>
              <a:off x="799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5 w 547"/>
                <a:gd name="T3" fmla="*/ 105 h 547"/>
                <a:gd name="T4" fmla="*/ 124 w 547"/>
                <a:gd name="T5" fmla="*/ 149 h 547"/>
                <a:gd name="T6" fmla="*/ 91 w 547"/>
                <a:gd name="T7" fmla="*/ 206 h 547"/>
                <a:gd name="T8" fmla="*/ 79 w 547"/>
                <a:gd name="T9" fmla="*/ 273 h 547"/>
                <a:gd name="T10" fmla="*/ 91 w 547"/>
                <a:gd name="T11" fmla="*/ 341 h 547"/>
                <a:gd name="T12" fmla="*/ 124 w 547"/>
                <a:gd name="T13" fmla="*/ 399 h 547"/>
                <a:gd name="T14" fmla="*/ 175 w 547"/>
                <a:gd name="T15" fmla="*/ 442 h 547"/>
                <a:gd name="T16" fmla="*/ 239 w 547"/>
                <a:gd name="T17" fmla="*/ 466 h 547"/>
                <a:gd name="T18" fmla="*/ 308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7 w 547"/>
                <a:gd name="T25" fmla="*/ 341 h 547"/>
                <a:gd name="T26" fmla="*/ 468 w 547"/>
                <a:gd name="T27" fmla="*/ 273 h 547"/>
                <a:gd name="T28" fmla="*/ 457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8 w 547"/>
                <a:gd name="T35" fmla="*/ 81 h 547"/>
                <a:gd name="T36" fmla="*/ 274 w 547"/>
                <a:gd name="T37" fmla="*/ 0 h 547"/>
                <a:gd name="T38" fmla="*/ 353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1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1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3 w 547"/>
                <a:gd name="T57" fmla="*/ 536 h 547"/>
                <a:gd name="T58" fmla="*/ 274 w 547"/>
                <a:gd name="T59" fmla="*/ 547 h 547"/>
                <a:gd name="T60" fmla="*/ 195 w 547"/>
                <a:gd name="T61" fmla="*/ 536 h 547"/>
                <a:gd name="T62" fmla="*/ 124 w 547"/>
                <a:gd name="T63" fmla="*/ 504 h 547"/>
                <a:gd name="T64" fmla="*/ 67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7 w 547"/>
                <a:gd name="T75" fmla="*/ 94 h 547"/>
                <a:gd name="T76" fmla="*/ 124 w 547"/>
                <a:gd name="T77" fmla="*/ 44 h 547"/>
                <a:gd name="T78" fmla="*/ 195 w 547"/>
                <a:gd name="T79" fmla="*/ 11 h 547"/>
                <a:gd name="T80" fmla="*/ 274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4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4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1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1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1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1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4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4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 noEditPoints="1"/>
            </p:cNvSpPr>
            <p:nvPr/>
          </p:nvSpPr>
          <p:spPr bwMode="auto">
            <a:xfrm>
              <a:off x="916" y="2351"/>
              <a:ext cx="110" cy="110"/>
            </a:xfrm>
            <a:custGeom>
              <a:avLst/>
              <a:gdLst>
                <a:gd name="T0" fmla="*/ 239 w 548"/>
                <a:gd name="T1" fmla="*/ 81 h 547"/>
                <a:gd name="T2" fmla="*/ 177 w 548"/>
                <a:gd name="T3" fmla="*/ 105 h 547"/>
                <a:gd name="T4" fmla="*/ 126 w 548"/>
                <a:gd name="T5" fmla="*/ 149 h 547"/>
                <a:gd name="T6" fmla="*/ 92 w 548"/>
                <a:gd name="T7" fmla="*/ 206 h 547"/>
                <a:gd name="T8" fmla="*/ 79 w 548"/>
                <a:gd name="T9" fmla="*/ 273 h 547"/>
                <a:gd name="T10" fmla="*/ 92 w 548"/>
                <a:gd name="T11" fmla="*/ 341 h 547"/>
                <a:gd name="T12" fmla="*/ 126 w 548"/>
                <a:gd name="T13" fmla="*/ 399 h 547"/>
                <a:gd name="T14" fmla="*/ 176 w 548"/>
                <a:gd name="T15" fmla="*/ 442 h 547"/>
                <a:gd name="T16" fmla="*/ 239 w 548"/>
                <a:gd name="T17" fmla="*/ 466 h 547"/>
                <a:gd name="T18" fmla="*/ 310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10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3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3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6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4 w 548"/>
                <a:gd name="T69" fmla="*/ 314 h 547"/>
                <a:gd name="T70" fmla="*/ 4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6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7" y="91"/>
                  </a:lnTo>
                  <a:lnTo>
                    <a:pt x="177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7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10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10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5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3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3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5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6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4" y="314"/>
                  </a:lnTo>
                  <a:lnTo>
                    <a:pt x="0" y="273"/>
                  </a:lnTo>
                  <a:lnTo>
                    <a:pt x="4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6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 noEditPoints="1"/>
            </p:cNvSpPr>
            <p:nvPr/>
          </p:nvSpPr>
          <p:spPr bwMode="auto">
            <a:xfrm>
              <a:off x="1051" y="2351"/>
              <a:ext cx="109" cy="110"/>
            </a:xfrm>
            <a:custGeom>
              <a:avLst/>
              <a:gdLst>
                <a:gd name="T0" fmla="*/ 239 w 548"/>
                <a:gd name="T1" fmla="*/ 81 h 547"/>
                <a:gd name="T2" fmla="*/ 175 w 548"/>
                <a:gd name="T3" fmla="*/ 105 h 547"/>
                <a:gd name="T4" fmla="*/ 126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6 w 548"/>
                <a:gd name="T13" fmla="*/ 399 h 547"/>
                <a:gd name="T14" fmla="*/ 175 w 548"/>
                <a:gd name="T15" fmla="*/ 442 h 547"/>
                <a:gd name="T16" fmla="*/ 239 w 548"/>
                <a:gd name="T17" fmla="*/ 466 h 547"/>
                <a:gd name="T18" fmla="*/ 309 w 548"/>
                <a:gd name="T19" fmla="*/ 466 h 547"/>
                <a:gd name="T20" fmla="*/ 372 w 548"/>
                <a:gd name="T21" fmla="*/ 442 h 547"/>
                <a:gd name="T22" fmla="*/ 423 w 548"/>
                <a:gd name="T23" fmla="*/ 399 h 547"/>
                <a:gd name="T24" fmla="*/ 457 w 548"/>
                <a:gd name="T25" fmla="*/ 341 h 547"/>
                <a:gd name="T26" fmla="*/ 469 w 548"/>
                <a:gd name="T27" fmla="*/ 273 h 547"/>
                <a:gd name="T28" fmla="*/ 457 w 548"/>
                <a:gd name="T29" fmla="*/ 206 h 547"/>
                <a:gd name="T30" fmla="*/ 423 w 548"/>
                <a:gd name="T31" fmla="*/ 149 h 547"/>
                <a:gd name="T32" fmla="*/ 372 w 548"/>
                <a:gd name="T33" fmla="*/ 105 h 547"/>
                <a:gd name="T34" fmla="*/ 309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3 w 548"/>
                <a:gd name="T41" fmla="*/ 44 h 547"/>
                <a:gd name="T42" fmla="*/ 481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81 w 548"/>
                <a:gd name="T53" fmla="*/ 453 h 547"/>
                <a:gd name="T54" fmla="*/ 423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6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6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6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6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4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3" y="372"/>
                  </a:lnTo>
                  <a:lnTo>
                    <a:pt x="457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7" y="206"/>
                  </a:lnTo>
                  <a:lnTo>
                    <a:pt x="443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90" y="25"/>
                  </a:lnTo>
                  <a:lnTo>
                    <a:pt x="423" y="44"/>
                  </a:lnTo>
                  <a:lnTo>
                    <a:pt x="454" y="67"/>
                  </a:lnTo>
                  <a:lnTo>
                    <a:pt x="481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1" y="453"/>
                  </a:lnTo>
                  <a:lnTo>
                    <a:pt x="454" y="480"/>
                  </a:lnTo>
                  <a:lnTo>
                    <a:pt x="423" y="504"/>
                  </a:lnTo>
                  <a:lnTo>
                    <a:pt x="390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4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5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5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4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auto">
            <a:xfrm>
              <a:off x="1168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1 w 547"/>
                <a:gd name="T7" fmla="*/ 206 h 547"/>
                <a:gd name="T8" fmla="*/ 78 w 547"/>
                <a:gd name="T9" fmla="*/ 273 h 547"/>
                <a:gd name="T10" fmla="*/ 91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2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2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2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5 w 547"/>
                <a:gd name="T47" fmla="*/ 233 h 547"/>
                <a:gd name="T48" fmla="*/ 545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2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5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5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5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5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9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8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9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1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1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4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4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5" y="233"/>
                  </a:lnTo>
                  <a:lnTo>
                    <a:pt x="547" y="273"/>
                  </a:lnTo>
                  <a:lnTo>
                    <a:pt x="545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4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4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1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1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auto">
            <a:xfrm>
              <a:off x="1285" y="2351"/>
              <a:ext cx="109" cy="110"/>
            </a:xfrm>
            <a:custGeom>
              <a:avLst/>
              <a:gdLst>
                <a:gd name="T0" fmla="*/ 239 w 547"/>
                <a:gd name="T1" fmla="*/ 81 h 547"/>
                <a:gd name="T2" fmla="*/ 176 w 547"/>
                <a:gd name="T3" fmla="*/ 105 h 547"/>
                <a:gd name="T4" fmla="*/ 125 w 547"/>
                <a:gd name="T5" fmla="*/ 149 h 547"/>
                <a:gd name="T6" fmla="*/ 92 w 547"/>
                <a:gd name="T7" fmla="*/ 206 h 547"/>
                <a:gd name="T8" fmla="*/ 79 w 547"/>
                <a:gd name="T9" fmla="*/ 273 h 547"/>
                <a:gd name="T10" fmla="*/ 92 w 547"/>
                <a:gd name="T11" fmla="*/ 341 h 547"/>
                <a:gd name="T12" fmla="*/ 125 w 547"/>
                <a:gd name="T13" fmla="*/ 399 h 547"/>
                <a:gd name="T14" fmla="*/ 176 w 547"/>
                <a:gd name="T15" fmla="*/ 442 h 547"/>
                <a:gd name="T16" fmla="*/ 239 w 547"/>
                <a:gd name="T17" fmla="*/ 466 h 547"/>
                <a:gd name="T18" fmla="*/ 309 w 547"/>
                <a:gd name="T19" fmla="*/ 466 h 547"/>
                <a:gd name="T20" fmla="*/ 372 w 547"/>
                <a:gd name="T21" fmla="*/ 442 h 547"/>
                <a:gd name="T22" fmla="*/ 423 w 547"/>
                <a:gd name="T23" fmla="*/ 399 h 547"/>
                <a:gd name="T24" fmla="*/ 456 w 547"/>
                <a:gd name="T25" fmla="*/ 341 h 547"/>
                <a:gd name="T26" fmla="*/ 468 w 547"/>
                <a:gd name="T27" fmla="*/ 273 h 547"/>
                <a:gd name="T28" fmla="*/ 456 w 547"/>
                <a:gd name="T29" fmla="*/ 206 h 547"/>
                <a:gd name="T30" fmla="*/ 423 w 547"/>
                <a:gd name="T31" fmla="*/ 149 h 547"/>
                <a:gd name="T32" fmla="*/ 372 w 547"/>
                <a:gd name="T33" fmla="*/ 105 h 547"/>
                <a:gd name="T34" fmla="*/ 309 w 547"/>
                <a:gd name="T35" fmla="*/ 81 h 547"/>
                <a:gd name="T36" fmla="*/ 273 w 547"/>
                <a:gd name="T37" fmla="*/ 0 h 547"/>
                <a:gd name="T38" fmla="*/ 352 w 547"/>
                <a:gd name="T39" fmla="*/ 11 h 547"/>
                <a:gd name="T40" fmla="*/ 423 w 547"/>
                <a:gd name="T41" fmla="*/ 44 h 547"/>
                <a:gd name="T42" fmla="*/ 480 w 547"/>
                <a:gd name="T43" fmla="*/ 94 h 547"/>
                <a:gd name="T44" fmla="*/ 522 w 547"/>
                <a:gd name="T45" fmla="*/ 158 h 547"/>
                <a:gd name="T46" fmla="*/ 544 w 547"/>
                <a:gd name="T47" fmla="*/ 233 h 547"/>
                <a:gd name="T48" fmla="*/ 544 w 547"/>
                <a:gd name="T49" fmla="*/ 314 h 547"/>
                <a:gd name="T50" fmla="*/ 522 w 547"/>
                <a:gd name="T51" fmla="*/ 389 h 547"/>
                <a:gd name="T52" fmla="*/ 480 w 547"/>
                <a:gd name="T53" fmla="*/ 453 h 547"/>
                <a:gd name="T54" fmla="*/ 423 w 547"/>
                <a:gd name="T55" fmla="*/ 504 h 547"/>
                <a:gd name="T56" fmla="*/ 352 w 547"/>
                <a:gd name="T57" fmla="*/ 536 h 547"/>
                <a:gd name="T58" fmla="*/ 273 w 547"/>
                <a:gd name="T59" fmla="*/ 547 h 547"/>
                <a:gd name="T60" fmla="*/ 194 w 547"/>
                <a:gd name="T61" fmla="*/ 536 h 547"/>
                <a:gd name="T62" fmla="*/ 125 w 547"/>
                <a:gd name="T63" fmla="*/ 504 h 547"/>
                <a:gd name="T64" fmla="*/ 68 w 547"/>
                <a:gd name="T65" fmla="*/ 453 h 547"/>
                <a:gd name="T66" fmla="*/ 26 w 547"/>
                <a:gd name="T67" fmla="*/ 389 h 547"/>
                <a:gd name="T68" fmla="*/ 3 w 547"/>
                <a:gd name="T69" fmla="*/ 314 h 547"/>
                <a:gd name="T70" fmla="*/ 3 w 547"/>
                <a:gd name="T71" fmla="*/ 233 h 547"/>
                <a:gd name="T72" fmla="*/ 26 w 547"/>
                <a:gd name="T73" fmla="*/ 158 h 547"/>
                <a:gd name="T74" fmla="*/ 68 w 547"/>
                <a:gd name="T75" fmla="*/ 94 h 547"/>
                <a:gd name="T76" fmla="*/ 125 w 547"/>
                <a:gd name="T77" fmla="*/ 44 h 547"/>
                <a:gd name="T78" fmla="*/ 194 w 547"/>
                <a:gd name="T79" fmla="*/ 11 h 547"/>
                <a:gd name="T80" fmla="*/ 273 w 547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7" h="547">
                  <a:moveTo>
                    <a:pt x="273" y="79"/>
                  </a:moveTo>
                  <a:lnTo>
                    <a:pt x="239" y="81"/>
                  </a:lnTo>
                  <a:lnTo>
                    <a:pt x="206" y="91"/>
                  </a:lnTo>
                  <a:lnTo>
                    <a:pt x="176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6" y="176"/>
                  </a:lnTo>
                  <a:lnTo>
                    <a:pt x="92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2" y="341"/>
                  </a:lnTo>
                  <a:lnTo>
                    <a:pt x="106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6" y="442"/>
                  </a:lnTo>
                  <a:lnTo>
                    <a:pt x="206" y="456"/>
                  </a:lnTo>
                  <a:lnTo>
                    <a:pt x="239" y="466"/>
                  </a:lnTo>
                  <a:lnTo>
                    <a:pt x="273" y="469"/>
                  </a:lnTo>
                  <a:lnTo>
                    <a:pt x="309" y="466"/>
                  </a:lnTo>
                  <a:lnTo>
                    <a:pt x="342" y="456"/>
                  </a:lnTo>
                  <a:lnTo>
                    <a:pt x="372" y="442"/>
                  </a:lnTo>
                  <a:lnTo>
                    <a:pt x="399" y="422"/>
                  </a:lnTo>
                  <a:lnTo>
                    <a:pt x="423" y="399"/>
                  </a:lnTo>
                  <a:lnTo>
                    <a:pt x="442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8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2" y="176"/>
                  </a:lnTo>
                  <a:lnTo>
                    <a:pt x="423" y="149"/>
                  </a:lnTo>
                  <a:lnTo>
                    <a:pt x="399" y="125"/>
                  </a:lnTo>
                  <a:lnTo>
                    <a:pt x="372" y="105"/>
                  </a:lnTo>
                  <a:lnTo>
                    <a:pt x="342" y="91"/>
                  </a:lnTo>
                  <a:lnTo>
                    <a:pt x="309" y="81"/>
                  </a:lnTo>
                  <a:lnTo>
                    <a:pt x="273" y="79"/>
                  </a:lnTo>
                  <a:close/>
                  <a:moveTo>
                    <a:pt x="273" y="0"/>
                  </a:moveTo>
                  <a:lnTo>
                    <a:pt x="315" y="2"/>
                  </a:lnTo>
                  <a:lnTo>
                    <a:pt x="352" y="11"/>
                  </a:lnTo>
                  <a:lnTo>
                    <a:pt x="389" y="25"/>
                  </a:lnTo>
                  <a:lnTo>
                    <a:pt x="423" y="44"/>
                  </a:lnTo>
                  <a:lnTo>
                    <a:pt x="453" y="67"/>
                  </a:lnTo>
                  <a:lnTo>
                    <a:pt x="480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7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80" y="453"/>
                  </a:lnTo>
                  <a:lnTo>
                    <a:pt x="453" y="480"/>
                  </a:lnTo>
                  <a:lnTo>
                    <a:pt x="423" y="504"/>
                  </a:lnTo>
                  <a:lnTo>
                    <a:pt x="389" y="522"/>
                  </a:lnTo>
                  <a:lnTo>
                    <a:pt x="352" y="536"/>
                  </a:lnTo>
                  <a:lnTo>
                    <a:pt x="315" y="545"/>
                  </a:lnTo>
                  <a:lnTo>
                    <a:pt x="273" y="547"/>
                  </a:lnTo>
                  <a:lnTo>
                    <a:pt x="233" y="545"/>
                  </a:lnTo>
                  <a:lnTo>
                    <a:pt x="194" y="536"/>
                  </a:lnTo>
                  <a:lnTo>
                    <a:pt x="159" y="522"/>
                  </a:lnTo>
                  <a:lnTo>
                    <a:pt x="125" y="504"/>
                  </a:lnTo>
                  <a:lnTo>
                    <a:pt x="95" y="480"/>
                  </a:lnTo>
                  <a:lnTo>
                    <a:pt x="68" y="453"/>
                  </a:lnTo>
                  <a:lnTo>
                    <a:pt x="44" y="422"/>
                  </a:lnTo>
                  <a:lnTo>
                    <a:pt x="26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6" y="158"/>
                  </a:lnTo>
                  <a:lnTo>
                    <a:pt x="44" y="125"/>
                  </a:lnTo>
                  <a:lnTo>
                    <a:pt x="68" y="94"/>
                  </a:lnTo>
                  <a:lnTo>
                    <a:pt x="95" y="67"/>
                  </a:lnTo>
                  <a:lnTo>
                    <a:pt x="125" y="44"/>
                  </a:lnTo>
                  <a:lnTo>
                    <a:pt x="159" y="25"/>
                  </a:lnTo>
                  <a:lnTo>
                    <a:pt x="194" y="11"/>
                  </a:lnTo>
                  <a:lnTo>
                    <a:pt x="233" y="2"/>
                  </a:lnTo>
                  <a:lnTo>
                    <a:pt x="2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 noEditPoints="1"/>
            </p:cNvSpPr>
            <p:nvPr/>
          </p:nvSpPr>
          <p:spPr bwMode="auto">
            <a:xfrm>
              <a:off x="1402" y="2351"/>
              <a:ext cx="110" cy="110"/>
            </a:xfrm>
            <a:custGeom>
              <a:avLst/>
              <a:gdLst>
                <a:gd name="T0" fmla="*/ 238 w 548"/>
                <a:gd name="T1" fmla="*/ 81 h 547"/>
                <a:gd name="T2" fmla="*/ 175 w 548"/>
                <a:gd name="T3" fmla="*/ 105 h 547"/>
                <a:gd name="T4" fmla="*/ 125 w 548"/>
                <a:gd name="T5" fmla="*/ 149 h 547"/>
                <a:gd name="T6" fmla="*/ 91 w 548"/>
                <a:gd name="T7" fmla="*/ 206 h 547"/>
                <a:gd name="T8" fmla="*/ 79 w 548"/>
                <a:gd name="T9" fmla="*/ 273 h 547"/>
                <a:gd name="T10" fmla="*/ 91 w 548"/>
                <a:gd name="T11" fmla="*/ 341 h 547"/>
                <a:gd name="T12" fmla="*/ 125 w 548"/>
                <a:gd name="T13" fmla="*/ 399 h 547"/>
                <a:gd name="T14" fmla="*/ 175 w 548"/>
                <a:gd name="T15" fmla="*/ 442 h 547"/>
                <a:gd name="T16" fmla="*/ 238 w 548"/>
                <a:gd name="T17" fmla="*/ 466 h 547"/>
                <a:gd name="T18" fmla="*/ 308 w 548"/>
                <a:gd name="T19" fmla="*/ 466 h 547"/>
                <a:gd name="T20" fmla="*/ 371 w 548"/>
                <a:gd name="T21" fmla="*/ 442 h 547"/>
                <a:gd name="T22" fmla="*/ 422 w 548"/>
                <a:gd name="T23" fmla="*/ 399 h 547"/>
                <a:gd name="T24" fmla="*/ 456 w 548"/>
                <a:gd name="T25" fmla="*/ 341 h 547"/>
                <a:gd name="T26" fmla="*/ 469 w 548"/>
                <a:gd name="T27" fmla="*/ 273 h 547"/>
                <a:gd name="T28" fmla="*/ 456 w 548"/>
                <a:gd name="T29" fmla="*/ 206 h 547"/>
                <a:gd name="T30" fmla="*/ 422 w 548"/>
                <a:gd name="T31" fmla="*/ 149 h 547"/>
                <a:gd name="T32" fmla="*/ 371 w 548"/>
                <a:gd name="T33" fmla="*/ 105 h 547"/>
                <a:gd name="T34" fmla="*/ 308 w 548"/>
                <a:gd name="T35" fmla="*/ 81 h 547"/>
                <a:gd name="T36" fmla="*/ 274 w 548"/>
                <a:gd name="T37" fmla="*/ 0 h 547"/>
                <a:gd name="T38" fmla="*/ 353 w 548"/>
                <a:gd name="T39" fmla="*/ 11 h 547"/>
                <a:gd name="T40" fmla="*/ 422 w 548"/>
                <a:gd name="T41" fmla="*/ 44 h 547"/>
                <a:gd name="T42" fmla="*/ 479 w 548"/>
                <a:gd name="T43" fmla="*/ 94 h 547"/>
                <a:gd name="T44" fmla="*/ 522 w 548"/>
                <a:gd name="T45" fmla="*/ 158 h 547"/>
                <a:gd name="T46" fmla="*/ 544 w 548"/>
                <a:gd name="T47" fmla="*/ 233 h 547"/>
                <a:gd name="T48" fmla="*/ 544 w 548"/>
                <a:gd name="T49" fmla="*/ 314 h 547"/>
                <a:gd name="T50" fmla="*/ 522 w 548"/>
                <a:gd name="T51" fmla="*/ 389 h 547"/>
                <a:gd name="T52" fmla="*/ 479 w 548"/>
                <a:gd name="T53" fmla="*/ 453 h 547"/>
                <a:gd name="T54" fmla="*/ 422 w 548"/>
                <a:gd name="T55" fmla="*/ 504 h 547"/>
                <a:gd name="T56" fmla="*/ 353 w 548"/>
                <a:gd name="T57" fmla="*/ 536 h 547"/>
                <a:gd name="T58" fmla="*/ 274 w 548"/>
                <a:gd name="T59" fmla="*/ 547 h 547"/>
                <a:gd name="T60" fmla="*/ 195 w 548"/>
                <a:gd name="T61" fmla="*/ 536 h 547"/>
                <a:gd name="T62" fmla="*/ 125 w 548"/>
                <a:gd name="T63" fmla="*/ 504 h 547"/>
                <a:gd name="T64" fmla="*/ 67 w 548"/>
                <a:gd name="T65" fmla="*/ 453 h 547"/>
                <a:gd name="T66" fmla="*/ 25 w 548"/>
                <a:gd name="T67" fmla="*/ 389 h 547"/>
                <a:gd name="T68" fmla="*/ 3 w 548"/>
                <a:gd name="T69" fmla="*/ 314 h 547"/>
                <a:gd name="T70" fmla="*/ 3 w 548"/>
                <a:gd name="T71" fmla="*/ 233 h 547"/>
                <a:gd name="T72" fmla="*/ 25 w 548"/>
                <a:gd name="T73" fmla="*/ 158 h 547"/>
                <a:gd name="T74" fmla="*/ 67 w 548"/>
                <a:gd name="T75" fmla="*/ 94 h 547"/>
                <a:gd name="T76" fmla="*/ 125 w 548"/>
                <a:gd name="T77" fmla="*/ 44 h 547"/>
                <a:gd name="T78" fmla="*/ 195 w 548"/>
                <a:gd name="T79" fmla="*/ 11 h 547"/>
                <a:gd name="T80" fmla="*/ 274 w 548"/>
                <a:gd name="T81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8" h="547">
                  <a:moveTo>
                    <a:pt x="274" y="79"/>
                  </a:moveTo>
                  <a:lnTo>
                    <a:pt x="238" y="81"/>
                  </a:lnTo>
                  <a:lnTo>
                    <a:pt x="206" y="91"/>
                  </a:lnTo>
                  <a:lnTo>
                    <a:pt x="175" y="105"/>
                  </a:lnTo>
                  <a:lnTo>
                    <a:pt x="148" y="125"/>
                  </a:lnTo>
                  <a:lnTo>
                    <a:pt x="125" y="149"/>
                  </a:lnTo>
                  <a:lnTo>
                    <a:pt x="105" y="176"/>
                  </a:lnTo>
                  <a:lnTo>
                    <a:pt x="91" y="206"/>
                  </a:lnTo>
                  <a:lnTo>
                    <a:pt x="82" y="238"/>
                  </a:lnTo>
                  <a:lnTo>
                    <a:pt x="79" y="273"/>
                  </a:lnTo>
                  <a:lnTo>
                    <a:pt x="82" y="309"/>
                  </a:lnTo>
                  <a:lnTo>
                    <a:pt x="91" y="341"/>
                  </a:lnTo>
                  <a:lnTo>
                    <a:pt x="105" y="372"/>
                  </a:lnTo>
                  <a:lnTo>
                    <a:pt x="125" y="399"/>
                  </a:lnTo>
                  <a:lnTo>
                    <a:pt x="148" y="422"/>
                  </a:lnTo>
                  <a:lnTo>
                    <a:pt x="175" y="442"/>
                  </a:lnTo>
                  <a:lnTo>
                    <a:pt x="206" y="456"/>
                  </a:lnTo>
                  <a:lnTo>
                    <a:pt x="238" y="466"/>
                  </a:lnTo>
                  <a:lnTo>
                    <a:pt x="274" y="469"/>
                  </a:lnTo>
                  <a:lnTo>
                    <a:pt x="308" y="466"/>
                  </a:lnTo>
                  <a:lnTo>
                    <a:pt x="341" y="456"/>
                  </a:lnTo>
                  <a:lnTo>
                    <a:pt x="371" y="442"/>
                  </a:lnTo>
                  <a:lnTo>
                    <a:pt x="399" y="422"/>
                  </a:lnTo>
                  <a:lnTo>
                    <a:pt x="422" y="399"/>
                  </a:lnTo>
                  <a:lnTo>
                    <a:pt x="441" y="372"/>
                  </a:lnTo>
                  <a:lnTo>
                    <a:pt x="456" y="341"/>
                  </a:lnTo>
                  <a:lnTo>
                    <a:pt x="465" y="309"/>
                  </a:lnTo>
                  <a:lnTo>
                    <a:pt x="469" y="273"/>
                  </a:lnTo>
                  <a:lnTo>
                    <a:pt x="465" y="238"/>
                  </a:lnTo>
                  <a:lnTo>
                    <a:pt x="456" y="206"/>
                  </a:lnTo>
                  <a:lnTo>
                    <a:pt x="441" y="176"/>
                  </a:lnTo>
                  <a:lnTo>
                    <a:pt x="422" y="149"/>
                  </a:lnTo>
                  <a:lnTo>
                    <a:pt x="399" y="125"/>
                  </a:lnTo>
                  <a:lnTo>
                    <a:pt x="371" y="105"/>
                  </a:lnTo>
                  <a:lnTo>
                    <a:pt x="341" y="91"/>
                  </a:lnTo>
                  <a:lnTo>
                    <a:pt x="308" y="81"/>
                  </a:lnTo>
                  <a:lnTo>
                    <a:pt x="274" y="79"/>
                  </a:lnTo>
                  <a:close/>
                  <a:moveTo>
                    <a:pt x="274" y="0"/>
                  </a:moveTo>
                  <a:lnTo>
                    <a:pt x="314" y="2"/>
                  </a:lnTo>
                  <a:lnTo>
                    <a:pt x="353" y="11"/>
                  </a:lnTo>
                  <a:lnTo>
                    <a:pt x="388" y="25"/>
                  </a:lnTo>
                  <a:lnTo>
                    <a:pt x="422" y="44"/>
                  </a:lnTo>
                  <a:lnTo>
                    <a:pt x="453" y="67"/>
                  </a:lnTo>
                  <a:lnTo>
                    <a:pt x="479" y="94"/>
                  </a:lnTo>
                  <a:lnTo>
                    <a:pt x="503" y="125"/>
                  </a:lnTo>
                  <a:lnTo>
                    <a:pt x="522" y="158"/>
                  </a:lnTo>
                  <a:lnTo>
                    <a:pt x="536" y="195"/>
                  </a:lnTo>
                  <a:lnTo>
                    <a:pt x="544" y="233"/>
                  </a:lnTo>
                  <a:lnTo>
                    <a:pt x="548" y="273"/>
                  </a:lnTo>
                  <a:lnTo>
                    <a:pt x="544" y="314"/>
                  </a:lnTo>
                  <a:lnTo>
                    <a:pt x="536" y="352"/>
                  </a:lnTo>
                  <a:lnTo>
                    <a:pt x="522" y="389"/>
                  </a:lnTo>
                  <a:lnTo>
                    <a:pt x="503" y="422"/>
                  </a:lnTo>
                  <a:lnTo>
                    <a:pt x="479" y="453"/>
                  </a:lnTo>
                  <a:lnTo>
                    <a:pt x="453" y="480"/>
                  </a:lnTo>
                  <a:lnTo>
                    <a:pt x="422" y="504"/>
                  </a:lnTo>
                  <a:lnTo>
                    <a:pt x="388" y="522"/>
                  </a:lnTo>
                  <a:lnTo>
                    <a:pt x="353" y="536"/>
                  </a:lnTo>
                  <a:lnTo>
                    <a:pt x="314" y="545"/>
                  </a:lnTo>
                  <a:lnTo>
                    <a:pt x="274" y="547"/>
                  </a:lnTo>
                  <a:lnTo>
                    <a:pt x="233" y="545"/>
                  </a:lnTo>
                  <a:lnTo>
                    <a:pt x="195" y="536"/>
                  </a:lnTo>
                  <a:lnTo>
                    <a:pt x="158" y="522"/>
                  </a:lnTo>
                  <a:lnTo>
                    <a:pt x="125" y="504"/>
                  </a:lnTo>
                  <a:lnTo>
                    <a:pt x="94" y="480"/>
                  </a:lnTo>
                  <a:lnTo>
                    <a:pt x="67" y="453"/>
                  </a:lnTo>
                  <a:lnTo>
                    <a:pt x="44" y="422"/>
                  </a:lnTo>
                  <a:lnTo>
                    <a:pt x="25" y="389"/>
                  </a:lnTo>
                  <a:lnTo>
                    <a:pt x="12" y="352"/>
                  </a:lnTo>
                  <a:lnTo>
                    <a:pt x="3" y="314"/>
                  </a:lnTo>
                  <a:lnTo>
                    <a:pt x="0" y="273"/>
                  </a:lnTo>
                  <a:lnTo>
                    <a:pt x="3" y="233"/>
                  </a:lnTo>
                  <a:lnTo>
                    <a:pt x="12" y="195"/>
                  </a:lnTo>
                  <a:lnTo>
                    <a:pt x="25" y="158"/>
                  </a:lnTo>
                  <a:lnTo>
                    <a:pt x="44" y="125"/>
                  </a:lnTo>
                  <a:lnTo>
                    <a:pt x="67" y="94"/>
                  </a:lnTo>
                  <a:lnTo>
                    <a:pt x="94" y="67"/>
                  </a:lnTo>
                  <a:lnTo>
                    <a:pt x="125" y="44"/>
                  </a:lnTo>
                  <a:lnTo>
                    <a:pt x="158" y="25"/>
                  </a:lnTo>
                  <a:lnTo>
                    <a:pt x="195" y="11"/>
                  </a:lnTo>
                  <a:lnTo>
                    <a:pt x="233" y="2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891" y="1984"/>
              <a:ext cx="536" cy="96"/>
            </a:xfrm>
            <a:custGeom>
              <a:avLst/>
              <a:gdLst>
                <a:gd name="T0" fmla="*/ 1337 w 2682"/>
                <a:gd name="T1" fmla="*/ 0 h 479"/>
                <a:gd name="T2" fmla="*/ 1398 w 2682"/>
                <a:gd name="T3" fmla="*/ 0 h 479"/>
                <a:gd name="T4" fmla="*/ 1398 w 2682"/>
                <a:gd name="T5" fmla="*/ 141 h 479"/>
                <a:gd name="T6" fmla="*/ 2682 w 2682"/>
                <a:gd name="T7" fmla="*/ 141 h 479"/>
                <a:gd name="T8" fmla="*/ 2682 w 2682"/>
                <a:gd name="T9" fmla="*/ 479 h 479"/>
                <a:gd name="T10" fmla="*/ 2618 w 2682"/>
                <a:gd name="T11" fmla="*/ 479 h 479"/>
                <a:gd name="T12" fmla="*/ 2618 w 2682"/>
                <a:gd name="T13" fmla="*/ 205 h 479"/>
                <a:gd name="T14" fmla="*/ 1398 w 2682"/>
                <a:gd name="T15" fmla="*/ 205 h 479"/>
                <a:gd name="T16" fmla="*/ 1398 w 2682"/>
                <a:gd name="T17" fmla="*/ 479 h 479"/>
                <a:gd name="T18" fmla="*/ 1336 w 2682"/>
                <a:gd name="T19" fmla="*/ 479 h 479"/>
                <a:gd name="T20" fmla="*/ 1336 w 2682"/>
                <a:gd name="T21" fmla="*/ 205 h 479"/>
                <a:gd name="T22" fmla="*/ 62 w 2682"/>
                <a:gd name="T23" fmla="*/ 205 h 479"/>
                <a:gd name="T24" fmla="*/ 62 w 2682"/>
                <a:gd name="T25" fmla="*/ 479 h 479"/>
                <a:gd name="T26" fmla="*/ 0 w 2682"/>
                <a:gd name="T27" fmla="*/ 479 h 479"/>
                <a:gd name="T28" fmla="*/ 0 w 2682"/>
                <a:gd name="T29" fmla="*/ 141 h 479"/>
                <a:gd name="T30" fmla="*/ 1337 w 2682"/>
                <a:gd name="T31" fmla="*/ 141 h 479"/>
                <a:gd name="T32" fmla="*/ 1337 w 2682"/>
                <a:gd name="T3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2" h="479">
                  <a:moveTo>
                    <a:pt x="1337" y="0"/>
                  </a:moveTo>
                  <a:lnTo>
                    <a:pt x="1398" y="0"/>
                  </a:lnTo>
                  <a:lnTo>
                    <a:pt x="1398" y="141"/>
                  </a:lnTo>
                  <a:lnTo>
                    <a:pt x="2682" y="141"/>
                  </a:lnTo>
                  <a:lnTo>
                    <a:pt x="2682" y="479"/>
                  </a:lnTo>
                  <a:lnTo>
                    <a:pt x="2618" y="479"/>
                  </a:lnTo>
                  <a:lnTo>
                    <a:pt x="2618" y="205"/>
                  </a:lnTo>
                  <a:lnTo>
                    <a:pt x="1398" y="205"/>
                  </a:lnTo>
                  <a:lnTo>
                    <a:pt x="1398" y="479"/>
                  </a:lnTo>
                  <a:lnTo>
                    <a:pt x="1336" y="479"/>
                  </a:lnTo>
                  <a:lnTo>
                    <a:pt x="1336" y="205"/>
                  </a:lnTo>
                  <a:lnTo>
                    <a:pt x="62" y="205"/>
                  </a:lnTo>
                  <a:lnTo>
                    <a:pt x="62" y="479"/>
                  </a:lnTo>
                  <a:lnTo>
                    <a:pt x="0" y="479"/>
                  </a:lnTo>
                  <a:lnTo>
                    <a:pt x="0" y="141"/>
                  </a:lnTo>
                  <a:lnTo>
                    <a:pt x="1337" y="141"/>
                  </a:lnTo>
                  <a:lnTo>
                    <a:pt x="1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869" y="2237"/>
              <a:ext cx="94" cy="96"/>
            </a:xfrm>
            <a:custGeom>
              <a:avLst/>
              <a:gdLst>
                <a:gd name="T0" fmla="*/ 198 w 467"/>
                <a:gd name="T1" fmla="*/ 0 h 480"/>
                <a:gd name="T2" fmla="*/ 260 w 467"/>
                <a:gd name="T3" fmla="*/ 0 h 480"/>
                <a:gd name="T4" fmla="*/ 260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4 w 467"/>
                <a:gd name="T11" fmla="*/ 480 h 480"/>
                <a:gd name="T12" fmla="*/ 404 w 467"/>
                <a:gd name="T13" fmla="*/ 205 h 480"/>
                <a:gd name="T14" fmla="*/ 62 w 467"/>
                <a:gd name="T15" fmla="*/ 205 h 480"/>
                <a:gd name="T16" fmla="*/ 62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0" y="0"/>
                  </a:lnTo>
                  <a:lnTo>
                    <a:pt x="260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4" y="480"/>
                  </a:lnTo>
                  <a:lnTo>
                    <a:pt x="404" y="205"/>
                  </a:lnTo>
                  <a:lnTo>
                    <a:pt x="62" y="205"/>
                  </a:lnTo>
                  <a:lnTo>
                    <a:pt x="62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1352" y="2237"/>
              <a:ext cx="93" cy="96"/>
            </a:xfrm>
            <a:custGeom>
              <a:avLst/>
              <a:gdLst>
                <a:gd name="T0" fmla="*/ 198 w 467"/>
                <a:gd name="T1" fmla="*/ 0 h 480"/>
                <a:gd name="T2" fmla="*/ 261 w 467"/>
                <a:gd name="T3" fmla="*/ 0 h 480"/>
                <a:gd name="T4" fmla="*/ 261 w 467"/>
                <a:gd name="T5" fmla="*/ 142 h 480"/>
                <a:gd name="T6" fmla="*/ 467 w 467"/>
                <a:gd name="T7" fmla="*/ 142 h 480"/>
                <a:gd name="T8" fmla="*/ 467 w 467"/>
                <a:gd name="T9" fmla="*/ 480 h 480"/>
                <a:gd name="T10" fmla="*/ 405 w 467"/>
                <a:gd name="T11" fmla="*/ 480 h 480"/>
                <a:gd name="T12" fmla="*/ 405 w 467"/>
                <a:gd name="T13" fmla="*/ 205 h 480"/>
                <a:gd name="T14" fmla="*/ 63 w 467"/>
                <a:gd name="T15" fmla="*/ 205 h 480"/>
                <a:gd name="T16" fmla="*/ 63 w 467"/>
                <a:gd name="T17" fmla="*/ 480 h 480"/>
                <a:gd name="T18" fmla="*/ 0 w 467"/>
                <a:gd name="T19" fmla="*/ 480 h 480"/>
                <a:gd name="T20" fmla="*/ 0 w 467"/>
                <a:gd name="T21" fmla="*/ 142 h 480"/>
                <a:gd name="T22" fmla="*/ 198 w 467"/>
                <a:gd name="T23" fmla="*/ 142 h 480"/>
                <a:gd name="T24" fmla="*/ 198 w 467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480">
                  <a:moveTo>
                    <a:pt x="198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7" y="142"/>
                  </a:lnTo>
                  <a:lnTo>
                    <a:pt x="467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8" y="14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1117" y="2237"/>
              <a:ext cx="94" cy="96"/>
            </a:xfrm>
            <a:custGeom>
              <a:avLst/>
              <a:gdLst>
                <a:gd name="T0" fmla="*/ 197 w 468"/>
                <a:gd name="T1" fmla="*/ 0 h 480"/>
                <a:gd name="T2" fmla="*/ 261 w 468"/>
                <a:gd name="T3" fmla="*/ 0 h 480"/>
                <a:gd name="T4" fmla="*/ 261 w 468"/>
                <a:gd name="T5" fmla="*/ 142 h 480"/>
                <a:gd name="T6" fmla="*/ 468 w 468"/>
                <a:gd name="T7" fmla="*/ 142 h 480"/>
                <a:gd name="T8" fmla="*/ 468 w 468"/>
                <a:gd name="T9" fmla="*/ 480 h 480"/>
                <a:gd name="T10" fmla="*/ 405 w 468"/>
                <a:gd name="T11" fmla="*/ 480 h 480"/>
                <a:gd name="T12" fmla="*/ 405 w 468"/>
                <a:gd name="T13" fmla="*/ 205 h 480"/>
                <a:gd name="T14" fmla="*/ 63 w 468"/>
                <a:gd name="T15" fmla="*/ 205 h 480"/>
                <a:gd name="T16" fmla="*/ 63 w 468"/>
                <a:gd name="T17" fmla="*/ 480 h 480"/>
                <a:gd name="T18" fmla="*/ 0 w 468"/>
                <a:gd name="T19" fmla="*/ 480 h 480"/>
                <a:gd name="T20" fmla="*/ 0 w 468"/>
                <a:gd name="T21" fmla="*/ 142 h 480"/>
                <a:gd name="T22" fmla="*/ 197 w 468"/>
                <a:gd name="T23" fmla="*/ 142 h 480"/>
                <a:gd name="T24" fmla="*/ 197 w 468"/>
                <a:gd name="T25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80">
                  <a:moveTo>
                    <a:pt x="197" y="0"/>
                  </a:moveTo>
                  <a:lnTo>
                    <a:pt x="261" y="0"/>
                  </a:lnTo>
                  <a:lnTo>
                    <a:pt x="261" y="142"/>
                  </a:lnTo>
                  <a:lnTo>
                    <a:pt x="468" y="142"/>
                  </a:lnTo>
                  <a:lnTo>
                    <a:pt x="468" y="480"/>
                  </a:lnTo>
                  <a:lnTo>
                    <a:pt x="405" y="480"/>
                  </a:lnTo>
                  <a:lnTo>
                    <a:pt x="405" y="205"/>
                  </a:lnTo>
                  <a:lnTo>
                    <a:pt x="63" y="205"/>
                  </a:lnTo>
                  <a:lnTo>
                    <a:pt x="63" y="480"/>
                  </a:lnTo>
                  <a:lnTo>
                    <a:pt x="0" y="480"/>
                  </a:lnTo>
                  <a:lnTo>
                    <a:pt x="0" y="142"/>
                  </a:lnTo>
                  <a:lnTo>
                    <a:pt x="197" y="142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1010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6"/>
          <p:cNvGrpSpPr>
            <a:grpSpLocks noChangeAspect="1"/>
          </p:cNvGrpSpPr>
          <p:nvPr/>
        </p:nvGrpSpPr>
        <p:grpSpPr bwMode="auto">
          <a:xfrm>
            <a:off x="7015842" y="2758791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36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40" name="Group 44"/>
          <p:cNvGrpSpPr>
            <a:grpSpLocks noChangeAspect="1"/>
          </p:cNvGrpSpPr>
          <p:nvPr/>
        </p:nvGrpSpPr>
        <p:grpSpPr bwMode="auto">
          <a:xfrm>
            <a:off x="4271987" y="2762709"/>
            <a:ext cx="604210" cy="755752"/>
            <a:chOff x="2724" y="1968"/>
            <a:chExt cx="307" cy="384"/>
          </a:xfrm>
          <a:solidFill>
            <a:srgbClr val="4472C4"/>
          </a:solidFill>
        </p:grpSpPr>
        <p:sp>
          <p:nvSpPr>
            <p:cNvPr id="43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5657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5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  <a:solidFill>
            <a:schemeClr val="accent6"/>
          </a:solidFill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211166" y="4296116"/>
            <a:ext cx="1994931" cy="1976492"/>
            <a:chOff x="6561963" y="4296116"/>
            <a:chExt cx="1994931" cy="197649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561963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63145" y="4878880"/>
              <a:ext cx="415890" cy="369068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563145" y="5383143"/>
              <a:ext cx="415890" cy="369068"/>
            </a:xfrm>
            <a:prstGeom prst="rect">
              <a:avLst/>
            </a:prstGeom>
          </p:spPr>
        </p:pic>
        <p:sp>
          <p:nvSpPr>
            <p:cNvPr id="67" name="Rectangle 66"/>
            <p:cNvSpPr/>
            <p:nvPr/>
          </p:nvSpPr>
          <p:spPr>
            <a:xfrm>
              <a:off x="7064402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er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7064402" y="529168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 file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6563145" y="5889514"/>
              <a:ext cx="404230" cy="220377"/>
            </a:xfrm>
            <a:prstGeom prst="straightConnector1">
              <a:avLst/>
            </a:prstGeom>
            <a:noFill/>
            <a:ln w="6350" cap="flat" cmpd="sng" algn="ctr">
              <a:solidFill>
                <a:srgbClr val="808080"/>
              </a:solidFill>
              <a:prstDash val="solid"/>
              <a:miter lim="800000"/>
              <a:tailEnd type="arrow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64402" y="572356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y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1864225" y="2365813"/>
            <a:ext cx="878975" cy="99627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413224" y="2675241"/>
            <a:ext cx="880782" cy="127381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338768" y="5693470"/>
            <a:ext cx="2117126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910228" y="4552760"/>
            <a:ext cx="2239995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994998" y="3597274"/>
            <a:ext cx="822369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Rectangle 33"/>
          <p:cNvSpPr/>
          <p:nvPr/>
        </p:nvSpPr>
        <p:spPr>
          <a:xfrm>
            <a:off x="1379730" y="4878880"/>
            <a:ext cx="822369" cy="71783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85966" y="2420378"/>
            <a:ext cx="642872" cy="6361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248458"/>
            <a:ext cx="710901" cy="442913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7329" y="3427364"/>
            <a:ext cx="980951" cy="105730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420379"/>
            <a:ext cx="1117548" cy="95691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6763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964742" y="3427364"/>
            <a:ext cx="1025770" cy="99627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864225" y="3377294"/>
            <a:ext cx="710901" cy="719442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6938</TotalTime>
  <Words>466</Words>
  <Application>Microsoft Office PowerPoint</Application>
  <PresentationFormat>On-screen Show (4:3)</PresentationFormat>
  <Paragraphs>241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Technika-Bold</vt:lpstr>
      <vt:lpstr>Arial</vt:lpstr>
      <vt:lpstr>Calibri</vt:lpstr>
      <vt:lpstr>Technika</vt:lpstr>
      <vt:lpstr>PowerPoint_CS</vt:lpstr>
      <vt:lpstr>think-cell Slide</vt:lpstr>
      <vt:lpstr>Project CASA: Status update – week 11</vt:lpstr>
      <vt:lpstr>Goals for this Meeting</vt:lpstr>
      <vt:lpstr>Project Team</vt:lpstr>
      <vt:lpstr>Our understanding of the problem</vt:lpstr>
      <vt:lpstr>Proposed expected outcome of Project</vt:lpstr>
      <vt:lpstr>Proposed Timeline</vt:lpstr>
      <vt:lpstr>High-level View</vt:lpstr>
      <vt:lpstr>Development progress</vt:lpstr>
      <vt:lpstr>Full Project View</vt:lpstr>
      <vt:lpstr>Full Project View ideal</vt:lpstr>
      <vt:lpstr>Development map</vt:lpstr>
      <vt:lpstr>Unit testing map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95</cp:revision>
  <cp:lastPrinted>2017-03-01T18:10:55Z</cp:lastPrinted>
  <dcterms:created xsi:type="dcterms:W3CDTF">2016-12-15T15:45:09Z</dcterms:created>
  <dcterms:modified xsi:type="dcterms:W3CDTF">2017-04-28T11:53:01Z</dcterms:modified>
</cp:coreProperties>
</file>